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2" r:id="rId1"/>
  </p:sldMasterIdLst>
  <p:notesMasterIdLst>
    <p:notesMasterId r:id="rId7"/>
  </p:notesMasterIdLst>
  <p:handoutMasterIdLst>
    <p:handoutMasterId r:id="rId8"/>
  </p:handoutMasterIdLst>
  <p:sldIdLst>
    <p:sldId id="259" r:id="rId2"/>
    <p:sldId id="264" r:id="rId3"/>
    <p:sldId id="261" r:id="rId4"/>
    <p:sldId id="688" r:id="rId5"/>
    <p:sldId id="689" r:id="rId6"/>
  </p:sldIdLst>
  <p:sldSz cx="9144000" cy="5143500" type="screen16x9"/>
  <p:notesSz cx="7004050" cy="92964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EBFB"/>
    <a:srgbClr val="2D6DF4"/>
    <a:srgbClr val="0054BC"/>
    <a:srgbClr val="0691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202"/>
    <p:restoredTop sz="96642"/>
  </p:normalViewPr>
  <p:slideViewPr>
    <p:cSldViewPr snapToGrid="0" snapToObjects="1">
      <p:cViewPr varScale="1">
        <p:scale>
          <a:sx n="90" d="100"/>
          <a:sy n="90" d="100"/>
        </p:scale>
        <p:origin x="42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7" d="100"/>
          <a:sy n="67" d="100"/>
        </p:scale>
        <p:origin x="322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dramirez\Documents\ANI%20Talento%20Humano\Bienestar\Plan%20de%20bienestar%20%202018%20ajustado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 err="1"/>
              <a:t>ACTIVIDADES</a:t>
            </a:r>
            <a:r>
              <a:rPr lang="en-US" sz="1600" b="1" dirty="0"/>
              <a:t> CON </a:t>
            </a:r>
            <a:r>
              <a:rPr lang="en-US" sz="1600" b="1" dirty="0" err="1"/>
              <a:t>PARTICIPANTES</a:t>
            </a:r>
            <a:endParaRPr lang="en-US" sz="16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AVANCE!$C$44</c:f>
              <c:strCache>
                <c:ptCount val="1"/>
                <c:pt idx="0">
                  <c:v>PARTICIPANT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VANCE!$A$45:$A$68</c:f>
              <c:strCache>
                <c:ptCount val="24"/>
                <c:pt idx="0">
                  <c:v>JUEVES SALUDABLES</c:v>
                </c:pt>
                <c:pt idx="1">
                  <c:v>DIA DE CUMPLEAÑOS</c:v>
                </c:pt>
                <c:pt idx="2">
                  <c:v>HORARIO FLEXIBLE</c:v>
                </c:pt>
                <c:pt idx="3">
                  <c:v>MEDICION DEL CLIMA ORGANIZACIONAL</c:v>
                </c:pt>
                <c:pt idx="4">
                  <c:v>DIA DE LA MUJER</c:v>
                </c:pt>
                <c:pt idx="5">
                  <c:v>DESCANSO COMPENSADO SEMANA SANTA</c:v>
                </c:pt>
                <c:pt idx="6">
                  <c:v>TALLER MANEJO DE ESTRÉS</c:v>
                </c:pt>
                <c:pt idx="7">
                  <c:v>DIA DE LA SECRETARIA</c:v>
                </c:pt>
                <c:pt idx="8">
                  <c:v>OLIMPIADAS DEL SECTOR TRANSPORTE</c:v>
                </c:pt>
                <c:pt idx="9">
                  <c:v>NATACION</c:v>
                </c:pt>
                <c:pt idx="10">
                  <c:v>APOYO CURSOS COMPENSAR</c:v>
                </c:pt>
                <c:pt idx="11">
                  <c:v>VACACIONES RECREATIVAS </c:v>
                </c:pt>
                <c:pt idx="12">
                  <c:v>CHEQUERA DE TIEMPO</c:v>
                </c:pt>
                <c:pt idx="13">
                  <c:v>CELEBRACION DIA DEL CONDUCTOR</c:v>
                </c:pt>
                <c:pt idx="14">
                  <c:v>JUEGOS DE INTEGRACION FUNCION PUBLICA</c:v>
                </c:pt>
                <c:pt idx="15">
                  <c:v>PRIMERA MUESTRA DE TALENTOS "ANImate"</c:v>
                </c:pt>
                <c:pt idx="16">
                  <c:v>VACACIONES RECREATIVAS </c:v>
                </c:pt>
                <c:pt idx="17">
                  <c:v>ACTIVIDAD DIA DE LOS NIÑOS</c:v>
                </c:pt>
                <c:pt idx="18">
                  <c:v>TORNEO DE FUTBOL ANI MASCULINO Y FEMENINO</c:v>
                </c:pt>
                <c:pt idx="19">
                  <c:v>INCENTIVOS MEJORES FUNCIONARIOS</c:v>
                </c:pt>
                <c:pt idx="20">
                  <c:v>PREPENSIONADOS</c:v>
                </c:pt>
                <c:pt idx="21">
                  <c:v>VACACIONES RECREATIVAS </c:v>
                </c:pt>
                <c:pt idx="22">
                  <c:v>NOVENA DE NAVIDAD</c:v>
                </c:pt>
                <c:pt idx="23">
                  <c:v>DESCANSO COMPENSADO NAVIDAD</c:v>
                </c:pt>
              </c:strCache>
            </c:strRef>
          </c:cat>
          <c:val>
            <c:numRef>
              <c:f>AVANCE!$C$45:$C$68</c:f>
              <c:numCache>
                <c:formatCode>General</c:formatCode>
                <c:ptCount val="24"/>
                <c:pt idx="0">
                  <c:v>20</c:v>
                </c:pt>
                <c:pt idx="1">
                  <c:v>246</c:v>
                </c:pt>
                <c:pt idx="2">
                  <c:v>7</c:v>
                </c:pt>
                <c:pt idx="3">
                  <c:v>246</c:v>
                </c:pt>
                <c:pt idx="4">
                  <c:v>246</c:v>
                </c:pt>
                <c:pt idx="5">
                  <c:v>246</c:v>
                </c:pt>
                <c:pt idx="6">
                  <c:v>20</c:v>
                </c:pt>
                <c:pt idx="7">
                  <c:v>26</c:v>
                </c:pt>
                <c:pt idx="8">
                  <c:v>107</c:v>
                </c:pt>
                <c:pt idx="9">
                  <c:v>42</c:v>
                </c:pt>
                <c:pt idx="10">
                  <c:v>25</c:v>
                </c:pt>
                <c:pt idx="11">
                  <c:v>30</c:v>
                </c:pt>
                <c:pt idx="12">
                  <c:v>246</c:v>
                </c:pt>
                <c:pt idx="13">
                  <c:v>11</c:v>
                </c:pt>
                <c:pt idx="14">
                  <c:v>67</c:v>
                </c:pt>
                <c:pt idx="15">
                  <c:v>246</c:v>
                </c:pt>
                <c:pt idx="16">
                  <c:v>33</c:v>
                </c:pt>
                <c:pt idx="17">
                  <c:v>90</c:v>
                </c:pt>
                <c:pt idx="18">
                  <c:v>170</c:v>
                </c:pt>
                <c:pt idx="19">
                  <c:v>4</c:v>
                </c:pt>
                <c:pt idx="20">
                  <c:v>20</c:v>
                </c:pt>
                <c:pt idx="21">
                  <c:v>36</c:v>
                </c:pt>
                <c:pt idx="22">
                  <c:v>200</c:v>
                </c:pt>
                <c:pt idx="23">
                  <c:v>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36-4268-B60F-ED1C2FC343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74159024"/>
        <c:axId val="574158696"/>
      </c:barChart>
      <c:catAx>
        <c:axId val="5741590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574158696"/>
        <c:crosses val="autoZero"/>
        <c:auto val="1"/>
        <c:lblAlgn val="ctr"/>
        <c:lblOffset val="100"/>
        <c:noMultiLvlLbl val="0"/>
      </c:catAx>
      <c:valAx>
        <c:axId val="57415869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574159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b="1" dirty="0"/>
              <a:t>CUMPLIMIENTO</a:t>
            </a:r>
            <a:r>
              <a:rPr lang="es-CO" b="1" baseline="0" dirty="0"/>
              <a:t> DEL PROGRAMA</a:t>
            </a:r>
            <a:endParaRPr lang="es-CO" b="1" dirty="0"/>
          </a:p>
        </c:rich>
      </c:tx>
      <c:layout>
        <c:manualLayout>
          <c:xMode val="edge"/>
          <c:yMode val="edge"/>
          <c:x val="0.22388188976377951"/>
          <c:y val="3.70370370370370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VANCE!$A$79:$A$80</c:f>
              <c:strCache>
                <c:ptCount val="2"/>
                <c:pt idx="0">
                  <c:v>ACTIVIDADES PROGRAMADAS</c:v>
                </c:pt>
                <c:pt idx="1">
                  <c:v>ACTIVIDADES EJECUTADAS</c:v>
                </c:pt>
              </c:strCache>
            </c:strRef>
          </c:cat>
          <c:val>
            <c:numRef>
              <c:f>AVANCE!$B$79:$B$80</c:f>
              <c:numCache>
                <c:formatCode>General</c:formatCode>
                <c:ptCount val="2"/>
                <c:pt idx="0">
                  <c:v>24</c:v>
                </c:pt>
                <c:pt idx="1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99-47BA-8CEE-61A9BF233C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52609840"/>
        <c:axId val="652608200"/>
      </c:barChart>
      <c:catAx>
        <c:axId val="652609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652608200"/>
        <c:crosses val="autoZero"/>
        <c:auto val="1"/>
        <c:lblAlgn val="ctr"/>
        <c:lblOffset val="100"/>
        <c:noMultiLvlLbl val="0"/>
      </c:catAx>
      <c:valAx>
        <c:axId val="6526082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652609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sz="1600" b="1"/>
              <a:t>IMPACTO DE LAS ACTIVIDADES DE BIENESTAR 2018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VANCE!$A$91:$A$97</c:f>
              <c:strCache>
                <c:ptCount val="7"/>
                <c:pt idx="0">
                  <c:v>IMPACTO</c:v>
                </c:pt>
                <c:pt idx="1">
                  <c:v>1. ¿El evento celebrado ha contribuido a mejorar su satisfacción laboral?</c:v>
                </c:pt>
                <c:pt idx="2">
                  <c:v>2. ¿Considera que la realización de este tipo de jornadas fortalecen la cultura organizacional de la Entidad?</c:v>
                </c:pt>
                <c:pt idx="3">
                  <c:v>3. ¿El evento celebrado fortaleció las relaciones interpersonales en su ambiente de trabajo?</c:v>
                </c:pt>
                <c:pt idx="4">
                  <c:v>4. ¿Le gustaría que este tipo de eventos se realizaran todos los años?</c:v>
                </c:pt>
                <c:pt idx="5">
                  <c:v>5. ¿La jornada que acaba de culminar le aportó a su desarrollo humano?</c:v>
                </c:pt>
                <c:pt idx="6">
                  <c:v>6. ¿Le gustaría participar en programas de bienestar como el que acaba de culminar?</c:v>
                </c:pt>
              </c:strCache>
            </c:strRef>
          </c:cat>
          <c:val>
            <c:numRef>
              <c:f>AVANCE!$B$91:$B$97</c:f>
              <c:numCache>
                <c:formatCode>0%</c:formatCode>
                <c:ptCount val="7"/>
                <c:pt idx="0">
                  <c:v>0.94270833333333337</c:v>
                </c:pt>
                <c:pt idx="1">
                  <c:v>0.875</c:v>
                </c:pt>
                <c:pt idx="2">
                  <c:v>0.875</c:v>
                </c:pt>
                <c:pt idx="3">
                  <c:v>0.90625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6F-4736-BD48-E3DCD252FF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4956752"/>
        <c:axId val="584957080"/>
      </c:barChart>
      <c:catAx>
        <c:axId val="584956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584957080"/>
        <c:crosses val="autoZero"/>
        <c:auto val="1"/>
        <c:lblAlgn val="ctr"/>
        <c:lblOffset val="100"/>
        <c:noMultiLvlLbl val="0"/>
      </c:catAx>
      <c:valAx>
        <c:axId val="5849570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584956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b="1" dirty="0"/>
              <a:t>SATISFACCIÓN</a:t>
            </a:r>
            <a:r>
              <a:rPr lang="es-CO" b="1" baseline="0" dirty="0"/>
              <a:t> DEL PROGRAMA DE BIENESTAR 2018</a:t>
            </a:r>
            <a:endParaRPr lang="es-CO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446529342671945"/>
          <c:y val="0.14426735218508999"/>
          <c:w val="0.50548266411449949"/>
          <c:h val="0.79335640885506276"/>
        </c:manualLayout>
      </c:layout>
      <c:bar3D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AVANCE!$A$98:$A$102</c:f>
              <c:strCache>
                <c:ptCount val="5"/>
                <c:pt idx="0">
                  <c:v>SATISFACCION ACERCA DEL PROGRAMA</c:v>
                </c:pt>
                <c:pt idx="1">
                  <c:v>1. La metodología para desarrollar el evento fue adecuada.</c:v>
                </c:pt>
                <c:pt idx="2">
                  <c:v>2. La logística y organización del evento fueron adecuadas.</c:v>
                </c:pt>
                <c:pt idx="3">
                  <c:v>3. La información previa al desarrollo del evento fue oportuna y suficiente</c:v>
                </c:pt>
                <c:pt idx="4">
                  <c:v>4. Sus expectativas frente al evento se cumplieron.</c:v>
                </c:pt>
              </c:strCache>
            </c:strRef>
          </c:cat>
          <c:val>
            <c:numRef>
              <c:f>AVANCE!$B$98:$B$102</c:f>
              <c:numCache>
                <c:formatCode>0%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33-448D-93E1-118E66A10C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581918896"/>
        <c:axId val="581919224"/>
        <c:axId val="0"/>
      </c:bar3DChart>
      <c:catAx>
        <c:axId val="5819188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581919224"/>
        <c:crosses val="autoZero"/>
        <c:auto val="1"/>
        <c:lblAlgn val="ctr"/>
        <c:lblOffset val="100"/>
        <c:noMultiLvlLbl val="0"/>
      </c:catAx>
      <c:valAx>
        <c:axId val="5819192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581918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088" cy="466434"/>
          </a:xfrm>
          <a:prstGeom prst="rect">
            <a:avLst/>
          </a:prstGeom>
        </p:spPr>
        <p:txBody>
          <a:bodyPr vert="horz" lIns="93141" tIns="46570" rIns="93141" bIns="4657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67341" y="0"/>
            <a:ext cx="3035088" cy="466434"/>
          </a:xfrm>
          <a:prstGeom prst="rect">
            <a:avLst/>
          </a:prstGeom>
        </p:spPr>
        <p:txBody>
          <a:bodyPr vert="horz" lIns="93141" tIns="46570" rIns="93141" bIns="46570" rtlCol="0"/>
          <a:lstStyle>
            <a:lvl1pPr algn="r">
              <a:defRPr sz="1200"/>
            </a:lvl1pPr>
          </a:lstStyle>
          <a:p>
            <a:fld id="{1912686D-009B-4755-BF3C-B1645D0A938E}" type="datetimeFigureOut">
              <a:rPr lang="es-ES" smtClean="0"/>
              <a:t>28/01/2019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5088" cy="466433"/>
          </a:xfrm>
          <a:prstGeom prst="rect">
            <a:avLst/>
          </a:prstGeom>
        </p:spPr>
        <p:txBody>
          <a:bodyPr vert="horz" lIns="93141" tIns="46570" rIns="93141" bIns="4657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67341" y="8829967"/>
            <a:ext cx="3035088" cy="466433"/>
          </a:xfrm>
          <a:prstGeom prst="rect">
            <a:avLst/>
          </a:prstGeom>
        </p:spPr>
        <p:txBody>
          <a:bodyPr vert="horz" lIns="93141" tIns="46570" rIns="93141" bIns="46570" rtlCol="0" anchor="b"/>
          <a:lstStyle>
            <a:lvl1pPr algn="r">
              <a:defRPr sz="1200"/>
            </a:lvl1pPr>
          </a:lstStyle>
          <a:p>
            <a:fld id="{1CDAE71F-6302-4695-A732-5DA60A1BF971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664184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403225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700405" y="4415790"/>
            <a:ext cx="560324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26" tIns="93126" rIns="93126" bIns="93126" anchor="t" anchorCtr="0"/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7841708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495ef59f35_0_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3225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495ef59f35_0_42:notes"/>
          <p:cNvSpPr txBox="1">
            <a:spLocks noGrp="1"/>
          </p:cNvSpPr>
          <p:nvPr>
            <p:ph type="body" idx="1"/>
          </p:nvPr>
        </p:nvSpPr>
        <p:spPr>
          <a:xfrm>
            <a:off x="700405" y="4415790"/>
            <a:ext cx="5603240" cy="4183380"/>
          </a:xfrm>
          <a:prstGeom prst="rect">
            <a:avLst/>
          </a:prstGeom>
        </p:spPr>
        <p:txBody>
          <a:bodyPr spcFirstLastPara="1" wrap="square" lIns="93126" tIns="93126" rIns="93126" bIns="93126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19262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166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1737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 1 1 1" preserve="1" userDrawn="1">
  <p:cSld name="1_Diapositiva de título 1 1 1">
    <p:bg>
      <p:bgPr>
        <a:solidFill>
          <a:srgbClr val="069169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/>
          <p:nvPr/>
        </p:nvSpPr>
        <p:spPr>
          <a:xfrm>
            <a:off x="8336496" y="54646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1" name="Google Shape;31;p5"/>
          <p:cNvSpPr txBox="1"/>
          <p:nvPr userDrawn="1"/>
        </p:nvSpPr>
        <p:spPr>
          <a:xfrm>
            <a:off x="8336496" y="-21554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 dirty="0">
              <a:solidFill>
                <a:srgbClr val="FFFFFF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2" name="Google Shape;32;p5"/>
          <p:cNvSpPr/>
          <p:nvPr/>
        </p:nvSpPr>
        <p:spPr>
          <a:xfrm>
            <a:off x="3213694" y="0"/>
            <a:ext cx="5935223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5"/>
          <p:cNvSpPr txBox="1"/>
          <p:nvPr/>
        </p:nvSpPr>
        <p:spPr>
          <a:xfrm>
            <a:off x="1098468" y="4856142"/>
            <a:ext cx="4293000" cy="34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s-CO" sz="600" b="0" i="0" u="none" strike="noStrike" cap="none">
                <a:solidFill>
                  <a:schemeClr val="lt1"/>
                </a:solidFill>
                <a:latin typeface="Work Sans"/>
                <a:ea typeface="Work Sans"/>
                <a:cs typeface="Work Sans"/>
                <a:sym typeface="Work Sans"/>
              </a:rPr>
              <a:t>Esta presentación es propiedad intelectual controlada y producida por la Presidencia de la República.</a:t>
            </a:r>
            <a:endParaRPr sz="600" b="0" i="0" u="none" strike="noStrike" cap="none">
              <a:solidFill>
                <a:schemeClr val="lt1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3892" y="346605"/>
            <a:ext cx="2616953" cy="746654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9EBB03E-157E-1743-86F1-8874FFB41B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61004" y="1439863"/>
            <a:ext cx="5149596" cy="1349375"/>
          </a:xfrm>
        </p:spPr>
        <p:txBody>
          <a:bodyPr/>
          <a:lstStyle>
            <a:lvl1pPr marL="95250" indent="0" algn="r">
              <a:buNone/>
              <a:defRPr sz="3000">
                <a:solidFill>
                  <a:srgbClr val="0054BC"/>
                </a:solidFill>
              </a:defRPr>
            </a:lvl1pPr>
          </a:lstStyle>
          <a:p>
            <a:r>
              <a:rPr lang="es-ES" dirty="0"/>
              <a:t>Editar los estilos de texto del patrón</a:t>
            </a:r>
            <a:endParaRPr lang="es-CO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366" y="3771884"/>
            <a:ext cx="3904083" cy="732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114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 type="blank">
  <p:cSld name="BLANK">
    <p:bg>
      <p:bgPr>
        <a:solidFill>
          <a:srgbClr val="DCEAFB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4"/>
          <p:cNvSpPr txBox="1"/>
          <p:nvPr/>
        </p:nvSpPr>
        <p:spPr>
          <a:xfrm>
            <a:off x="8299683" y="0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700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rPr>
              <a:t>‹Nº›</a:t>
            </a:fld>
            <a:endParaRPr sz="700" b="0" i="0" u="none" strike="noStrike" cap="none" dirty="0">
              <a:solidFill>
                <a:srgbClr val="0066CD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3618" y="287254"/>
            <a:ext cx="1118402" cy="319096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789" y="4523448"/>
            <a:ext cx="1870211" cy="350665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628650" y="273844"/>
            <a:ext cx="7886700" cy="99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3300"/>
              <a:buFont typeface="Work Sans"/>
              <a:buNone/>
              <a:defRPr sz="33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dt" idx="10"/>
          </p:nvPr>
        </p:nvSpPr>
        <p:spPr>
          <a:xfrm>
            <a:off x="6286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ftr" idx="11"/>
          </p:nvPr>
        </p:nvSpPr>
        <p:spPr>
          <a:xfrm>
            <a:off x="3028950" y="4767263"/>
            <a:ext cx="3086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10" name="Google Shape;10;p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0574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O"/>
              <a:t>‹Nº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60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C9E0C39-8742-B14F-9B09-71798CFEC52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>
                <a:solidFill>
                  <a:schemeClr val="tx2"/>
                </a:solidFill>
              </a:rPr>
              <a:t>AGENCIA NACIONAL DE INFRAESTRUCTURA</a:t>
            </a:r>
            <a:endParaRPr lang="es-CO" b="1" dirty="0"/>
          </a:p>
        </p:txBody>
      </p:sp>
      <p:sp>
        <p:nvSpPr>
          <p:cNvPr id="4" name="Subtitle 5">
            <a:extLst>
              <a:ext uri="{FF2B5EF4-FFF2-40B4-BE49-F238E27FC236}">
                <a16:creationId xmlns:a16="http://schemas.microsoft.com/office/drawing/2014/main" id="{D47F7E23-DDD9-4CBC-B7F9-425045B44FE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654866" y="2789722"/>
            <a:ext cx="5489134" cy="619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s-CO" sz="2000" b="1" dirty="0">
                <a:solidFill>
                  <a:schemeClr val="tx2"/>
                </a:solidFill>
                <a:latin typeface="Work Sans"/>
              </a:rPr>
              <a:t>RESULTADOS PLAN DE BIENESTAR SOCIAL E INCENTIVOS</a:t>
            </a:r>
          </a:p>
          <a:p>
            <a:pPr algn="ctr"/>
            <a:r>
              <a:rPr lang="es-CO" sz="2000" b="1" dirty="0">
                <a:solidFill>
                  <a:schemeClr val="tx2"/>
                </a:solidFill>
                <a:latin typeface="Work Sans"/>
              </a:rPr>
              <a:t>2018</a:t>
            </a:r>
          </a:p>
          <a:p>
            <a:pPr algn="ctr"/>
            <a:r>
              <a:rPr lang="es-CO" b="1" dirty="0">
                <a:solidFill>
                  <a:schemeClr val="tx2"/>
                </a:solidFill>
                <a:latin typeface="Work Sans"/>
                <a:sym typeface="Work Sans"/>
              </a:rPr>
              <a:t>ENERO 2019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2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61716846-90DF-4E0A-935B-092AE9C153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6380409"/>
              </p:ext>
            </p:extLst>
          </p:nvPr>
        </p:nvGraphicFramePr>
        <p:xfrm>
          <a:off x="1312567" y="191386"/>
          <a:ext cx="5476875" cy="4850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304847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2"/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A6BC8805-B4AB-4392-A50B-EF86EA58BB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3132662"/>
              </p:ext>
            </p:extLst>
          </p:nvPr>
        </p:nvGraphicFramePr>
        <p:xfrm>
          <a:off x="1998921" y="653901"/>
          <a:ext cx="5087679" cy="3092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:a16="http://schemas.microsoft.com/office/drawing/2014/main" id="{0B11D578-F62F-40F6-84F4-CFC414302A3C}"/>
              </a:ext>
            </a:extLst>
          </p:cNvPr>
          <p:cNvSpPr/>
          <p:nvPr/>
        </p:nvSpPr>
        <p:spPr>
          <a:xfrm>
            <a:off x="1717158" y="3949034"/>
            <a:ext cx="57096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dirty="0"/>
              <a:t>Las actividades de Bienestar programadas se ejecutaron en un 100%</a:t>
            </a:r>
          </a:p>
        </p:txBody>
      </p:sp>
    </p:spTree>
    <p:extLst>
      <p:ext uri="{BB962C8B-B14F-4D97-AF65-F5344CB8AC3E}">
        <p14:creationId xmlns:p14="http://schemas.microsoft.com/office/powerpoint/2010/main" val="20486083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0717CF45-A941-4CD2-B157-281EA927712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4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7E223083-E641-4C5D-98AD-A5DDD3E3649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2354670"/>
              </p:ext>
            </p:extLst>
          </p:nvPr>
        </p:nvGraphicFramePr>
        <p:xfrm>
          <a:off x="1209785" y="514350"/>
          <a:ext cx="6086475" cy="3257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ángulo 2">
            <a:extLst>
              <a:ext uri="{FF2B5EF4-FFF2-40B4-BE49-F238E27FC236}">
                <a16:creationId xmlns:a16="http://schemas.microsoft.com/office/drawing/2014/main" id="{7D15F8FE-DBD8-4EA1-BACB-CC558440A8CE}"/>
              </a:ext>
            </a:extLst>
          </p:cNvPr>
          <p:cNvSpPr/>
          <p:nvPr/>
        </p:nvSpPr>
        <p:spPr>
          <a:xfrm>
            <a:off x="978195" y="4007971"/>
            <a:ext cx="75810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dirty="0"/>
              <a:t>El 94% de los participantes en las actividades de Bienestar consideran positivo el Impacto de dichas actividades en su motivación frente al trabajo en la Agencia</a:t>
            </a:r>
          </a:p>
        </p:txBody>
      </p:sp>
    </p:spTree>
    <p:extLst>
      <p:ext uri="{BB962C8B-B14F-4D97-AF65-F5344CB8AC3E}">
        <p14:creationId xmlns:p14="http://schemas.microsoft.com/office/powerpoint/2010/main" val="38851349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0717CF45-A941-4CD2-B157-281EA927712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4767263"/>
            <a:ext cx="2057400" cy="274637"/>
          </a:xfrm>
        </p:spPr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5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id="{7D15F8FE-DBD8-4EA1-BACB-CC558440A8CE}"/>
              </a:ext>
            </a:extLst>
          </p:cNvPr>
          <p:cNvSpPr/>
          <p:nvPr/>
        </p:nvSpPr>
        <p:spPr>
          <a:xfrm>
            <a:off x="534286" y="4195476"/>
            <a:ext cx="75810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dirty="0"/>
              <a:t>La satisfacción de los participantes en las actividades de Bienestar frente al programa de bienestar  es del 100%</a:t>
            </a:r>
          </a:p>
        </p:txBody>
      </p: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ECC1DE9D-10FF-41E8-802A-25DA42FE2D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4288234"/>
              </p:ext>
            </p:extLst>
          </p:nvPr>
        </p:nvGraphicFramePr>
        <p:xfrm>
          <a:off x="783708" y="463956"/>
          <a:ext cx="6896100" cy="3705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002239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5EhUBZrUe.6bQ08g6v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idencia de Colomba">
  <a:themeElements>
    <a:clrScheme name="Presidencia">
      <a:dk1>
        <a:srgbClr val="073763"/>
      </a:dk1>
      <a:lt1>
        <a:srgbClr val="FFFFFF"/>
      </a:lt1>
      <a:dk2>
        <a:srgbClr val="3C78D8"/>
      </a:dk2>
      <a:lt2>
        <a:srgbClr val="A4C2F4"/>
      </a:lt2>
      <a:accent1>
        <a:srgbClr val="E4EDFE"/>
      </a:accent1>
      <a:accent2>
        <a:srgbClr val="B7CFFF"/>
      </a:accent2>
      <a:accent3>
        <a:srgbClr val="88ACF8"/>
      </a:accent3>
      <a:accent4>
        <a:srgbClr val="5B8BFF"/>
      </a:accent4>
      <a:accent5>
        <a:srgbClr val="6D98FF"/>
      </a:accent5>
      <a:accent6>
        <a:srgbClr val="2A54A7"/>
      </a:accent6>
      <a:hlink>
        <a:srgbClr val="F45721"/>
      </a:hlink>
      <a:folHlink>
        <a:srgbClr val="FFA06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9</TotalTime>
  <Words>96</Words>
  <Application>Microsoft Office PowerPoint</Application>
  <PresentationFormat>Presentación en pantalla (16:9)</PresentationFormat>
  <Paragraphs>17</Paragraphs>
  <Slides>5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</vt:i4>
      </vt:variant>
    </vt:vector>
  </HeadingPairs>
  <TitlesOfParts>
    <vt:vector size="9" baseType="lpstr">
      <vt:lpstr>Arial</vt:lpstr>
      <vt:lpstr>Work Sans</vt:lpstr>
      <vt:lpstr>Presidencia de Colomba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lyn Figueredo Cubides</dc:creator>
  <cp:lastModifiedBy>Diego Fernando Ramirez Sepulveda</cp:lastModifiedBy>
  <cp:revision>52</cp:revision>
  <cp:lastPrinted>2019-01-04T16:57:52Z</cp:lastPrinted>
  <dcterms:modified xsi:type="dcterms:W3CDTF">2019-01-28T20:36:47Z</dcterms:modified>
</cp:coreProperties>
</file>